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8002250" cy="18002250"/>
  <p:notesSz cx="6858000" cy="9144000"/>
  <p:custDataLst>
    <p:tags r:id="rId4"/>
  </p:custDataLst>
  <p:defaultTextStyle>
    <a:defPPr>
      <a:defRPr lang="zh-CN"/>
    </a:defPPr>
    <a:lvl1pPr marL="0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8945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7889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6834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5779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4723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3668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2613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1557" algn="l" defTabSz="121788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24" y="1206"/>
      </p:cViewPr>
      <p:guideLst>
        <p:guide orient="horz" pos="5670"/>
        <p:guide pos="567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50171" y="5592366"/>
            <a:ext cx="15301913" cy="385881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700339" y="10201274"/>
            <a:ext cx="12601575" cy="46005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1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13051632" y="720925"/>
            <a:ext cx="4050507" cy="15360253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900114" y="720925"/>
            <a:ext cx="11851481" cy="15360253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422056" y="11568115"/>
            <a:ext cx="15301913" cy="3575446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422056" y="7630123"/>
            <a:ext cx="15301913" cy="3937991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894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788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683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57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472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366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261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1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00113" y="4200529"/>
            <a:ext cx="7950994" cy="11880652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9151144" y="4200529"/>
            <a:ext cx="7950994" cy="11880652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00113" y="4029674"/>
            <a:ext cx="7954120" cy="1679374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45" indent="0">
              <a:buNone/>
              <a:defRPr sz="2700" b="1"/>
            </a:lvl2pPr>
            <a:lvl3pPr marL="1217889" indent="0">
              <a:buNone/>
              <a:defRPr sz="2400" b="1"/>
            </a:lvl3pPr>
            <a:lvl4pPr marL="1826834" indent="0">
              <a:buNone/>
              <a:defRPr sz="2100" b="1"/>
            </a:lvl4pPr>
            <a:lvl5pPr marL="2435779" indent="0">
              <a:buNone/>
              <a:defRPr sz="2100" b="1"/>
            </a:lvl5pPr>
            <a:lvl6pPr marL="3044723" indent="0">
              <a:buNone/>
              <a:defRPr sz="2100" b="1"/>
            </a:lvl6pPr>
            <a:lvl7pPr marL="3653668" indent="0">
              <a:buNone/>
              <a:defRPr sz="2100" b="1"/>
            </a:lvl7pPr>
            <a:lvl8pPr marL="4262613" indent="0">
              <a:buNone/>
              <a:defRPr sz="2100" b="1"/>
            </a:lvl8pPr>
            <a:lvl9pPr marL="4871557" indent="0">
              <a:buNone/>
              <a:defRPr sz="21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900113" y="5709047"/>
            <a:ext cx="7954120" cy="10372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9144895" y="4029674"/>
            <a:ext cx="7957245" cy="1679374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45" indent="0">
              <a:buNone/>
              <a:defRPr sz="2700" b="1"/>
            </a:lvl2pPr>
            <a:lvl3pPr marL="1217889" indent="0">
              <a:buNone/>
              <a:defRPr sz="2400" b="1"/>
            </a:lvl3pPr>
            <a:lvl4pPr marL="1826834" indent="0">
              <a:buNone/>
              <a:defRPr sz="2100" b="1"/>
            </a:lvl4pPr>
            <a:lvl5pPr marL="2435779" indent="0">
              <a:buNone/>
              <a:defRPr sz="2100" b="1"/>
            </a:lvl5pPr>
            <a:lvl6pPr marL="3044723" indent="0">
              <a:buNone/>
              <a:defRPr sz="2100" b="1"/>
            </a:lvl6pPr>
            <a:lvl7pPr marL="3653668" indent="0">
              <a:buNone/>
              <a:defRPr sz="2100" b="1"/>
            </a:lvl7pPr>
            <a:lvl8pPr marL="4262613" indent="0">
              <a:buNone/>
              <a:defRPr sz="2100" b="1"/>
            </a:lvl8pPr>
            <a:lvl9pPr marL="4871557" indent="0">
              <a:buNone/>
              <a:defRPr sz="21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9144895" y="5709047"/>
            <a:ext cx="7957245" cy="10372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00115" y="716755"/>
            <a:ext cx="5922617" cy="305038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038380" y="716760"/>
            <a:ext cx="10063758" cy="15364421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900115" y="3767141"/>
            <a:ext cx="5922617" cy="12314040"/>
          </a:xfrm>
        </p:spPr>
        <p:txBody>
          <a:bodyPr/>
          <a:lstStyle>
            <a:lvl1pPr marL="0" indent="0">
              <a:buNone/>
              <a:defRPr sz="1900"/>
            </a:lvl1pPr>
            <a:lvl2pPr marL="608945" indent="0">
              <a:buNone/>
              <a:defRPr sz="1600"/>
            </a:lvl2pPr>
            <a:lvl3pPr marL="1217889" indent="0">
              <a:buNone/>
              <a:defRPr sz="1300"/>
            </a:lvl3pPr>
            <a:lvl4pPr marL="1826834" indent="0">
              <a:buNone/>
              <a:defRPr sz="1200"/>
            </a:lvl4pPr>
            <a:lvl5pPr marL="2435779" indent="0">
              <a:buNone/>
              <a:defRPr sz="1200"/>
            </a:lvl5pPr>
            <a:lvl6pPr marL="3044723" indent="0">
              <a:buNone/>
              <a:defRPr sz="1200"/>
            </a:lvl6pPr>
            <a:lvl7pPr marL="3653668" indent="0">
              <a:buNone/>
              <a:defRPr sz="1200"/>
            </a:lvl7pPr>
            <a:lvl8pPr marL="4262613" indent="0">
              <a:buNone/>
              <a:defRPr sz="1200"/>
            </a:lvl8pPr>
            <a:lvl9pPr marL="4871557" indent="0">
              <a:buNone/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528567" y="12601574"/>
            <a:ext cx="10801350" cy="1487688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528567" y="1608537"/>
            <a:ext cx="10801350" cy="10801350"/>
          </a:xfrm>
        </p:spPr>
        <p:txBody>
          <a:bodyPr/>
          <a:lstStyle>
            <a:lvl1pPr marL="0" indent="0">
              <a:buNone/>
              <a:defRPr sz="4300"/>
            </a:lvl1pPr>
            <a:lvl2pPr marL="608945" indent="0">
              <a:buNone/>
              <a:defRPr sz="3700"/>
            </a:lvl2pPr>
            <a:lvl3pPr marL="1217889" indent="0">
              <a:buNone/>
              <a:defRPr sz="3200"/>
            </a:lvl3pPr>
            <a:lvl4pPr marL="1826834" indent="0">
              <a:buNone/>
              <a:defRPr sz="2700"/>
            </a:lvl4pPr>
            <a:lvl5pPr marL="2435779" indent="0">
              <a:buNone/>
              <a:defRPr sz="2700"/>
            </a:lvl5pPr>
            <a:lvl6pPr marL="3044723" indent="0">
              <a:buNone/>
              <a:defRPr sz="2700"/>
            </a:lvl6pPr>
            <a:lvl7pPr marL="3653668" indent="0">
              <a:buNone/>
              <a:defRPr sz="2700"/>
            </a:lvl7pPr>
            <a:lvl8pPr marL="4262613" indent="0">
              <a:buNone/>
              <a:defRPr sz="2700"/>
            </a:lvl8pPr>
            <a:lvl9pPr marL="4871557" indent="0">
              <a:buNone/>
              <a:defRPr sz="27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3528567" y="14089265"/>
            <a:ext cx="10801350" cy="2112762"/>
          </a:xfrm>
        </p:spPr>
        <p:txBody>
          <a:bodyPr/>
          <a:lstStyle>
            <a:lvl1pPr marL="0" indent="0">
              <a:buNone/>
              <a:defRPr sz="1900"/>
            </a:lvl1pPr>
            <a:lvl2pPr marL="608945" indent="0">
              <a:buNone/>
              <a:defRPr sz="1600"/>
            </a:lvl2pPr>
            <a:lvl3pPr marL="1217889" indent="0">
              <a:buNone/>
              <a:defRPr sz="1300"/>
            </a:lvl3pPr>
            <a:lvl4pPr marL="1826834" indent="0">
              <a:buNone/>
              <a:defRPr sz="1200"/>
            </a:lvl4pPr>
            <a:lvl5pPr marL="2435779" indent="0">
              <a:buNone/>
              <a:defRPr sz="1200"/>
            </a:lvl5pPr>
            <a:lvl6pPr marL="3044723" indent="0">
              <a:buNone/>
              <a:defRPr sz="1200"/>
            </a:lvl6pPr>
            <a:lvl7pPr marL="3653668" indent="0">
              <a:buNone/>
              <a:defRPr sz="1200"/>
            </a:lvl7pPr>
            <a:lvl8pPr marL="4262613" indent="0">
              <a:buNone/>
              <a:defRPr sz="1200"/>
            </a:lvl8pPr>
            <a:lvl9pPr marL="4871557" indent="0">
              <a:buNone/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900114" y="720927"/>
            <a:ext cx="16202025" cy="3000376"/>
          </a:xfrm>
          <a:prstGeom prst="rect">
            <a:avLst/>
          </a:prstGeom>
        </p:spPr>
        <p:txBody>
          <a:bodyPr vert="horz" lIns="121789" tIns="60894" rIns="121789" bIns="60894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00114" y="4200529"/>
            <a:ext cx="16202025" cy="11880652"/>
          </a:xfrm>
          <a:prstGeom prst="rect">
            <a:avLst/>
          </a:prstGeom>
        </p:spPr>
        <p:txBody>
          <a:bodyPr vert="horz" lIns="121789" tIns="60894" rIns="121789" bIns="60894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900114" y="16685420"/>
            <a:ext cx="4200525" cy="958453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t>2014/3/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6150769" y="16685420"/>
            <a:ext cx="5700712" cy="958453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2901614" y="16685420"/>
            <a:ext cx="4200525" cy="958453"/>
          </a:xfrm>
          <a:prstGeom prst="rect">
            <a:avLst/>
          </a:prstGeom>
        </p:spPr>
        <p:txBody>
          <a:bodyPr vert="horz" lIns="121789" tIns="60894" rIns="121789" bIns="60894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7889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709" indent="-456709" algn="l" defTabSz="121788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89535" indent="-380590" algn="l" defTabSz="1217889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362" indent="-304472" algn="l" defTabSz="121788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1306" indent="-304472" algn="l" defTabSz="1217889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0251" indent="-304472" algn="l" defTabSz="1217889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49196" indent="-304472" algn="l" defTabSz="121788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8140" indent="-304472" algn="l" defTabSz="121788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7085" indent="-304472" algn="l" defTabSz="121788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030" indent="-304472" algn="l" defTabSz="121788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45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889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834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779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723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668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613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557" algn="l" defTabSz="121788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tags" Target="../tags/tag12.xml"/><Relationship Id="rId21" Type="http://schemas.openxmlformats.org/officeDocument/2006/relationships/oleObject" Target="../embeddings/oleObject2.bin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773426"/>
              </p:ext>
            </p:extLst>
          </p:nvPr>
        </p:nvGraphicFramePr>
        <p:xfrm>
          <a:off x="1" y="0"/>
          <a:ext cx="234649" cy="3128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34649" cy="3128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乘号 5"/>
          <p:cNvSpPr/>
          <p:nvPr>
            <p:custDataLst>
              <p:tags r:id="rId3"/>
            </p:custDataLst>
          </p:nvPr>
        </p:nvSpPr>
        <p:spPr>
          <a:xfrm>
            <a:off x="4440360" y="8528870"/>
            <a:ext cx="425297" cy="544264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9" tIns="60894" rIns="121789" bIns="60894" spcCol="0" rtlCol="0" anchor="ctr"/>
          <a:lstStyle/>
          <a:p>
            <a:pPr algn="ctr"/>
            <a:endParaRPr lang="zh-CN" altLang="en-US"/>
          </a:p>
        </p:txBody>
      </p: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>
            <a:off x="1927563" y="8127198"/>
            <a:ext cx="10393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*NI</a:t>
            </a:r>
            <a:endParaRPr lang="zh-CN" altLang="en-US" dirty="0"/>
          </a:p>
        </p:txBody>
      </p:sp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1531650" y="9107114"/>
            <a:ext cx="183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输入数据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6446681" y="10944926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突触权值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0"/>
          <p:cNvSpPr txBox="1"/>
          <p:nvPr>
            <p:custDataLst>
              <p:tags r:id="rId7"/>
            </p:custDataLst>
          </p:nvPr>
        </p:nvSpPr>
        <p:spPr>
          <a:xfrm>
            <a:off x="6572024" y="6317528"/>
            <a:ext cx="10233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NI*NO</a:t>
            </a:r>
            <a:endParaRPr lang="zh-CN" altLang="en-US" dirty="0"/>
          </a:p>
        </p:txBody>
      </p:sp>
      <p:sp>
        <p:nvSpPr>
          <p:cNvPr id="14" name="TextBox 13"/>
          <p:cNvSpPr txBox="1"/>
          <p:nvPr>
            <p:custDataLst>
              <p:tags r:id="rId8"/>
            </p:custDataLst>
          </p:nvPr>
        </p:nvSpPr>
        <p:spPr>
          <a:xfrm>
            <a:off x="11593413" y="8179420"/>
            <a:ext cx="11676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*NO</a:t>
            </a:r>
            <a:endParaRPr lang="zh-CN" altLang="en-US" dirty="0"/>
          </a:p>
        </p:txBody>
      </p:sp>
      <p:sp>
        <p:nvSpPr>
          <p:cNvPr id="15" name="TextBox 14"/>
          <p:cNvSpPr txBox="1"/>
          <p:nvPr>
            <p:custDataLst>
              <p:tags r:id="rId9"/>
            </p:custDataLst>
          </p:nvPr>
        </p:nvSpPr>
        <p:spPr>
          <a:xfrm>
            <a:off x="11305381" y="9107114"/>
            <a:ext cx="16361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输出结果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等于号 15"/>
          <p:cNvSpPr/>
          <p:nvPr>
            <p:custDataLst>
              <p:tags r:id="rId10"/>
            </p:custDataLst>
          </p:nvPr>
        </p:nvSpPr>
        <p:spPr>
          <a:xfrm>
            <a:off x="9261037" y="8528869"/>
            <a:ext cx="532176" cy="544265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aphicFrame>
        <p:nvGraphicFramePr>
          <p:cNvPr id="17" name="表格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892033"/>
              </p:ext>
            </p:extLst>
          </p:nvPr>
        </p:nvGraphicFramePr>
        <p:xfrm>
          <a:off x="237117" y="8548974"/>
          <a:ext cx="4083488" cy="5040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</a:tblGrid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8" name="表格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333848"/>
              </p:ext>
            </p:extLst>
          </p:nvPr>
        </p:nvGraphicFramePr>
        <p:xfrm>
          <a:off x="5009673" y="6840885"/>
          <a:ext cx="4083488" cy="40324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</a:tblGrid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表格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077243"/>
              </p:ext>
            </p:extLst>
          </p:nvPr>
        </p:nvGraphicFramePr>
        <p:xfrm>
          <a:off x="9937229" y="8569077"/>
          <a:ext cx="4083488" cy="5040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  <a:gridCol w="510436"/>
              </a:tblGrid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1586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206920"/>
              </p:ext>
            </p:extLst>
          </p:nvPr>
        </p:nvGraphicFramePr>
        <p:xfrm>
          <a:off x="1" y="0"/>
          <a:ext cx="234649" cy="3128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34649" cy="3128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5401026" y="2152785"/>
            <a:ext cx="1702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1*NI</a:t>
            </a:r>
            <a:endParaRPr lang="zh-CN" altLang="en-US" dirty="0"/>
          </a:p>
        </p:txBody>
      </p:sp>
      <p:sp>
        <p:nvSpPr>
          <p:cNvPr id="9" name="TextBox 8"/>
          <p:cNvSpPr txBox="1"/>
          <p:nvPr>
            <p:custDataLst>
              <p:tags r:id="rId4"/>
            </p:custDataLst>
          </p:nvPr>
        </p:nvSpPr>
        <p:spPr>
          <a:xfrm>
            <a:off x="5070551" y="3439751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输入数据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TextBox 9"/>
          <p:cNvSpPr txBox="1"/>
          <p:nvPr>
            <p:custDataLst>
              <p:tags r:id="rId5"/>
            </p:custDataLst>
          </p:nvPr>
        </p:nvSpPr>
        <p:spPr>
          <a:xfrm>
            <a:off x="10000477" y="4272375"/>
            <a:ext cx="1402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突触权值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10250665" y="72133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NI*NO</a:t>
            </a:r>
            <a:endParaRPr lang="zh-CN" altLang="en-US" dirty="0"/>
          </a:p>
        </p:txBody>
      </p:sp>
      <p:sp>
        <p:nvSpPr>
          <p:cNvPr id="12" name="TextBox 11"/>
          <p:cNvSpPr txBox="1"/>
          <p:nvPr>
            <p:custDataLst>
              <p:tags r:id="rId7"/>
            </p:custDataLst>
          </p:nvPr>
        </p:nvSpPr>
        <p:spPr>
          <a:xfrm>
            <a:off x="4219899" y="3135750"/>
            <a:ext cx="1181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 smtClean="0"/>
              <a:t>ROWNUM</a:t>
            </a:r>
            <a:endParaRPr lang="zh-CN" altLang="en-US" sz="1800" dirty="0"/>
          </a:p>
        </p:txBody>
      </p:sp>
      <p:sp>
        <p:nvSpPr>
          <p:cNvPr id="17" name="TextBox 16"/>
          <p:cNvSpPr txBox="1"/>
          <p:nvPr>
            <p:custDataLst>
              <p:tags r:id="rId8"/>
            </p:custDataLst>
          </p:nvPr>
        </p:nvSpPr>
        <p:spPr>
          <a:xfrm>
            <a:off x="7365787" y="6019928"/>
            <a:ext cx="2211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NI/ROWNUM*NO</a:t>
            </a:r>
            <a:endParaRPr lang="zh-CN" altLang="en-US" sz="2000" dirty="0"/>
          </a:p>
        </p:txBody>
      </p:sp>
      <p:sp>
        <p:nvSpPr>
          <p:cNvPr id="19" name="下箭头 18"/>
          <p:cNvSpPr/>
          <p:nvPr>
            <p:custDataLst>
              <p:tags r:id="rId9"/>
            </p:custDataLst>
          </p:nvPr>
        </p:nvSpPr>
        <p:spPr>
          <a:xfrm>
            <a:off x="7786315" y="4104581"/>
            <a:ext cx="1152128" cy="17289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0" name="表格 19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73006805"/>
              </p:ext>
            </p:extLst>
          </p:nvPr>
        </p:nvGraphicFramePr>
        <p:xfrm>
          <a:off x="4050159" y="2613025"/>
          <a:ext cx="3479272" cy="4666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4909"/>
                <a:gridCol w="434909"/>
                <a:gridCol w="434909"/>
                <a:gridCol w="434909"/>
                <a:gridCol w="434909"/>
                <a:gridCol w="434909"/>
                <a:gridCol w="434909"/>
                <a:gridCol w="434909"/>
              </a:tblGrid>
              <a:tr h="46668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表格 20"/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31476851"/>
              </p:ext>
            </p:extLst>
          </p:nvPr>
        </p:nvGraphicFramePr>
        <p:xfrm>
          <a:off x="9015189" y="599559"/>
          <a:ext cx="3370312" cy="3657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289"/>
                <a:gridCol w="421289"/>
                <a:gridCol w="421289"/>
                <a:gridCol w="421289"/>
                <a:gridCol w="421289"/>
                <a:gridCol w="421289"/>
                <a:gridCol w="421289"/>
                <a:gridCol w="421289"/>
              </a:tblGrid>
              <a:tr h="419054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9054"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>
            <p:custDataLst>
              <p:tags r:id="rId12"/>
            </p:custDataLst>
          </p:nvPr>
        </p:nvSpPr>
        <p:spPr>
          <a:xfrm>
            <a:off x="11108279" y="2014286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dirty="0" smtClean="0"/>
              <a:t>ROWNUM</a:t>
            </a:r>
            <a:endParaRPr lang="zh-CN" altLang="en-US" sz="1800" dirty="0"/>
          </a:p>
        </p:txBody>
      </p:sp>
      <p:sp>
        <p:nvSpPr>
          <p:cNvPr id="3" name="TextBox 2"/>
          <p:cNvSpPr txBox="1"/>
          <p:nvPr>
            <p:custDataLst>
              <p:tags r:id="rId13"/>
            </p:custDataLst>
          </p:nvPr>
        </p:nvSpPr>
        <p:spPr>
          <a:xfrm>
            <a:off x="9878010" y="2935695"/>
            <a:ext cx="13057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BLOCKSIZE</a:t>
            </a:r>
            <a:endParaRPr lang="zh-CN" altLang="en-US" sz="2000" dirty="0"/>
          </a:p>
        </p:txBody>
      </p:sp>
      <p:graphicFrame>
        <p:nvGraphicFramePr>
          <p:cNvPr id="22" name="表格 21"/>
          <p:cNvGraphicFramePr>
            <a:graphicFrameLocks noGrp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60863746"/>
              </p:ext>
            </p:extLst>
          </p:nvPr>
        </p:nvGraphicFramePr>
        <p:xfrm>
          <a:off x="6624861" y="6379220"/>
          <a:ext cx="3479272" cy="14000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4909"/>
                <a:gridCol w="434909"/>
                <a:gridCol w="434909"/>
                <a:gridCol w="434909"/>
                <a:gridCol w="434909"/>
                <a:gridCol w="434909"/>
                <a:gridCol w="434909"/>
                <a:gridCol w="434909"/>
              </a:tblGrid>
              <a:tr h="46668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68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6668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3" name="TextBox 22"/>
          <p:cNvSpPr txBox="1"/>
          <p:nvPr>
            <p:custDataLst>
              <p:tags r:id="rId15"/>
            </p:custDataLst>
          </p:nvPr>
        </p:nvSpPr>
        <p:spPr>
          <a:xfrm>
            <a:off x="7486441" y="6987222"/>
            <a:ext cx="13057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BLOCKSIZE</a:t>
            </a:r>
            <a:endParaRPr lang="zh-CN" altLang="en-US" sz="2000" dirty="0"/>
          </a:p>
        </p:txBody>
      </p:sp>
      <p:sp>
        <p:nvSpPr>
          <p:cNvPr id="24" name="下箭头 23"/>
          <p:cNvSpPr/>
          <p:nvPr>
            <p:custDataLst>
              <p:tags r:id="rId16"/>
            </p:custDataLst>
          </p:nvPr>
        </p:nvSpPr>
        <p:spPr>
          <a:xfrm>
            <a:off x="7709800" y="8568329"/>
            <a:ext cx="1152128" cy="17289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TextBox 24"/>
          <p:cNvSpPr txBox="1"/>
          <p:nvPr>
            <p:custDataLst>
              <p:tags r:id="rId17"/>
            </p:custDataLst>
          </p:nvPr>
        </p:nvSpPr>
        <p:spPr>
          <a:xfrm>
            <a:off x="7668301" y="7776989"/>
            <a:ext cx="1402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中间数据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26" name="表格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8214157"/>
              </p:ext>
            </p:extLst>
          </p:nvPr>
        </p:nvGraphicFramePr>
        <p:xfrm>
          <a:off x="6582717" y="10801325"/>
          <a:ext cx="3570536" cy="5040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6317"/>
                <a:gridCol w="446317"/>
                <a:gridCol w="446317"/>
                <a:gridCol w="446317"/>
                <a:gridCol w="446317"/>
                <a:gridCol w="446317"/>
                <a:gridCol w="446317"/>
                <a:gridCol w="446317"/>
              </a:tblGrid>
              <a:tr h="504056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7" name="TextBox 26"/>
          <p:cNvSpPr txBox="1"/>
          <p:nvPr>
            <p:custDataLst>
              <p:tags r:id="rId18"/>
            </p:custDataLst>
          </p:nvPr>
        </p:nvSpPr>
        <p:spPr>
          <a:xfrm>
            <a:off x="7914142" y="10473223"/>
            <a:ext cx="773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/>
              <a:t>1*NO</a:t>
            </a:r>
            <a:endParaRPr lang="zh-CN" altLang="en-US" sz="2000" dirty="0"/>
          </a:p>
        </p:txBody>
      </p:sp>
      <p:sp>
        <p:nvSpPr>
          <p:cNvPr id="28" name="TextBox 27"/>
          <p:cNvSpPr txBox="1"/>
          <p:nvPr>
            <p:custDataLst>
              <p:tags r:id="rId19"/>
            </p:custDataLst>
          </p:nvPr>
        </p:nvSpPr>
        <p:spPr>
          <a:xfrm>
            <a:off x="7670817" y="11347772"/>
            <a:ext cx="1402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输出结果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08701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rgHk2sx0.YbhdbnGDr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YIzy.S4ky3_jKaQLIp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unqWlGRUCZQ9S3Rxif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_MqFbraUyOf3F4awMm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I9Em1eo0OEWA2KW9Rb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OBcVTeku2W0gi_Qps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Uoh5BbFES9obvYZIx.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7NobMx9Eu8b3rpA13N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eHq_fMbkOXx9.dndw7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IZ3d5sIU.fh1TlkhyD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urPXz_KkGhHrbWV3RW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RcqbYY.kWGE7U0txr_.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eHq_fMbkOXx9.dndw7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RcqbYY.kWGE7U0txr_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7NobMx9Eu8b3rpA13N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_MqFbraUyOf3F4awMm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Uoh5BbFES9obvYZIx.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_MqFbraUyOf3F4awMm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RdV1I1kq41xDzt4ou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qpIe3Ebke5k8iq_lU8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8GwbyAu06qPYDkg6nY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IYZNMHTkKa4oa3cf3n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Lt1GtbA0WQSNfuVU5k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acOuvFqEa3z..3EK6o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2esBvGxUqJKK_.yA9vv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25</Words>
  <Application>Microsoft Office PowerPoint</Application>
  <PresentationFormat>自定义</PresentationFormat>
  <Paragraphs>18</Paragraphs>
  <Slides>2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</vt:i4>
      </vt:variant>
    </vt:vector>
  </HeadingPairs>
  <TitlesOfParts>
    <vt:vector size="4" baseType="lpstr">
      <vt:lpstr>Office 主题</vt:lpstr>
      <vt:lpstr>think-cell Slide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wangjia</cp:lastModifiedBy>
  <cp:revision>15</cp:revision>
  <dcterms:created xsi:type="dcterms:W3CDTF">2014-03-04T07:41:02Z</dcterms:created>
  <dcterms:modified xsi:type="dcterms:W3CDTF">2014-03-04T08:54:20Z</dcterms:modified>
</cp:coreProperties>
</file>